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67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713977-776A-6DB3-7AC3-A2178371A1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A1813C-A3E7-54E1-313B-3D3A73556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0" y="317500"/>
            <a:ext cx="9420224" cy="1266827"/>
          </a:xfrm>
        </p:spPr>
        <p:txBody>
          <a:bodyPr/>
          <a:lstStyle/>
          <a:p>
            <a:r>
              <a:rPr lang="en-US" dirty="0"/>
              <a:t>Table of Contents</a:t>
            </a:r>
            <a:endParaRPr lang="en-IN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AC74457-ADCA-1EE5-E651-B514660503E2}"/>
              </a:ext>
            </a:extLst>
          </p:cNvPr>
          <p:cNvGrpSpPr/>
          <p:nvPr/>
        </p:nvGrpSpPr>
        <p:grpSpPr>
          <a:xfrm>
            <a:off x="7772400" y="2260546"/>
            <a:ext cx="9813924" cy="1384950"/>
            <a:chOff x="7772400" y="2466921"/>
            <a:chExt cx="9813924" cy="1384950"/>
          </a:xfrm>
        </p:grpSpPr>
        <p:sp>
          <p:nvSpPr>
            <p:cNvPr id="5" name="Google Shape;586;p33">
              <a:extLst>
                <a:ext uri="{FF2B5EF4-FFF2-40B4-BE49-F238E27FC236}">
                  <a16:creationId xmlns:a16="http://schemas.microsoft.com/office/drawing/2014/main" id="{8AA1CAD9-7EBB-1172-E8F1-B847665687F7}"/>
                </a:ext>
              </a:extLst>
            </p:cNvPr>
            <p:cNvSpPr txBox="1">
              <a:spLocks/>
            </p:cNvSpPr>
            <p:nvPr/>
          </p:nvSpPr>
          <p:spPr>
            <a:xfrm>
              <a:off x="7772400" y="2466921"/>
              <a:ext cx="1302876" cy="13849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137138" tIns="137138" rIns="137138" bIns="137138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chivo Black"/>
                <a:buNone/>
                <a:defRPr sz="4100" b="0" i="0" u="none" strike="noStrike" cap="none">
                  <a:solidFill>
                    <a:schemeClr val="lt2"/>
                  </a:solidFill>
                  <a:latin typeface="Archivo Black"/>
                  <a:ea typeface="Archivo Black"/>
                  <a:cs typeface="Archivo Black"/>
                  <a:sym typeface="Archivo Black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1371600">
                <a:buClr>
                  <a:srgbClr val="151F29"/>
                </a:buClr>
                <a:defRPr/>
              </a:pPr>
              <a:r>
                <a:rPr lang="en" sz="7200" b="1" kern="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1</a:t>
              </a:r>
            </a:p>
          </p:txBody>
        </p:sp>
        <p:sp>
          <p:nvSpPr>
            <p:cNvPr id="15" name="Google Shape;597;p33">
              <a:extLst>
                <a:ext uri="{FF2B5EF4-FFF2-40B4-BE49-F238E27FC236}">
                  <a16:creationId xmlns:a16="http://schemas.microsoft.com/office/drawing/2014/main" id="{86A481D4-9D0A-79C9-9672-09E64F7D1B5B}"/>
                </a:ext>
              </a:extLst>
            </p:cNvPr>
            <p:cNvSpPr txBox="1">
              <a:spLocks/>
            </p:cNvSpPr>
            <p:nvPr/>
          </p:nvSpPr>
          <p:spPr>
            <a:xfrm>
              <a:off x="9318789" y="2700396"/>
              <a:ext cx="8267535" cy="918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7138" tIns="137138" rIns="137138" bIns="137138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chivo Black"/>
                <a:buNone/>
                <a:defRPr sz="2000" b="0" i="0" u="none" strike="noStrike" cap="none">
                  <a:solidFill>
                    <a:schemeClr val="dk1"/>
                  </a:solidFill>
                  <a:latin typeface="Archivo Black"/>
                  <a:ea typeface="Archivo Black"/>
                  <a:cs typeface="Archivo Black"/>
                  <a:sym typeface="Archivo Black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l" defTabSz="1371600">
                <a:buClr>
                  <a:srgbClr val="151F29"/>
                </a:buClr>
                <a:defRPr/>
              </a:pPr>
              <a:r>
                <a:rPr lang="en-IN" sz="4400" b="1" kern="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</a:t>
              </a:r>
            </a:p>
          </p:txBody>
        </p:sp>
      </p:grpSp>
      <p:pic>
        <p:nvPicPr>
          <p:cNvPr id="6" name="Picture Placeholder 5" descr="A close-up of a person and person writing in a notebook&#10;&#10;AI-generated content may be incorrect.">
            <a:extLst>
              <a:ext uri="{FF2B5EF4-FFF2-40B4-BE49-F238E27FC236}">
                <a16:creationId xmlns:a16="http://schemas.microsoft.com/office/drawing/2014/main" id="{43737E47-F54C-E144-C7ED-636699D434C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22" t="19133" b="2611"/>
          <a:stretch>
            <a:fillRect/>
          </a:stretch>
        </p:blipFill>
        <p:spPr>
          <a:xfrm>
            <a:off x="0" y="0"/>
            <a:ext cx="7315200" cy="10287000"/>
          </a:xfr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8A9537EA-308C-6750-458E-8728FEECC0C7}"/>
              </a:ext>
            </a:extLst>
          </p:cNvPr>
          <p:cNvGrpSpPr/>
          <p:nvPr/>
        </p:nvGrpSpPr>
        <p:grpSpPr>
          <a:xfrm>
            <a:off x="7772400" y="4055281"/>
            <a:ext cx="9813924" cy="1384950"/>
            <a:chOff x="7772400" y="2466921"/>
            <a:chExt cx="9813924" cy="1384950"/>
          </a:xfrm>
        </p:grpSpPr>
        <p:sp>
          <p:nvSpPr>
            <p:cNvPr id="25" name="Google Shape;586;p33">
              <a:extLst>
                <a:ext uri="{FF2B5EF4-FFF2-40B4-BE49-F238E27FC236}">
                  <a16:creationId xmlns:a16="http://schemas.microsoft.com/office/drawing/2014/main" id="{CCFBE096-AF29-6C5A-2D7E-AD29F4DF48CA}"/>
                </a:ext>
              </a:extLst>
            </p:cNvPr>
            <p:cNvSpPr txBox="1">
              <a:spLocks/>
            </p:cNvSpPr>
            <p:nvPr/>
          </p:nvSpPr>
          <p:spPr>
            <a:xfrm>
              <a:off x="7772400" y="2466921"/>
              <a:ext cx="1302876" cy="13849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137138" tIns="137138" rIns="137138" bIns="137138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chivo Black"/>
                <a:buNone/>
                <a:defRPr sz="4100" b="0" i="0" u="none" strike="noStrike" cap="none">
                  <a:solidFill>
                    <a:schemeClr val="lt2"/>
                  </a:solidFill>
                  <a:latin typeface="Archivo Black"/>
                  <a:ea typeface="Archivo Black"/>
                  <a:cs typeface="Archivo Black"/>
                  <a:sym typeface="Archivo Black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1371600">
                <a:buClr>
                  <a:srgbClr val="151F29"/>
                </a:buClr>
                <a:defRPr/>
              </a:pPr>
              <a:r>
                <a:rPr lang="en" sz="7200" b="1" kern="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2</a:t>
              </a:r>
            </a:p>
          </p:txBody>
        </p:sp>
        <p:sp>
          <p:nvSpPr>
            <p:cNvPr id="27" name="Google Shape;597;p33">
              <a:extLst>
                <a:ext uri="{FF2B5EF4-FFF2-40B4-BE49-F238E27FC236}">
                  <a16:creationId xmlns:a16="http://schemas.microsoft.com/office/drawing/2014/main" id="{57C89AFB-38F8-3BBD-3612-4E32EB9984F1}"/>
                </a:ext>
              </a:extLst>
            </p:cNvPr>
            <p:cNvSpPr txBox="1">
              <a:spLocks/>
            </p:cNvSpPr>
            <p:nvPr/>
          </p:nvSpPr>
          <p:spPr>
            <a:xfrm>
              <a:off x="9318789" y="2700396"/>
              <a:ext cx="8267535" cy="918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7138" tIns="137138" rIns="137138" bIns="137138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chivo Black"/>
                <a:buNone/>
                <a:defRPr sz="2000" b="0" i="0" u="none" strike="noStrike" cap="none">
                  <a:solidFill>
                    <a:schemeClr val="dk1"/>
                  </a:solidFill>
                  <a:latin typeface="Archivo Black"/>
                  <a:ea typeface="Archivo Black"/>
                  <a:cs typeface="Archivo Black"/>
                  <a:sym typeface="Archivo Black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l" defTabSz="1371600">
                <a:buClr>
                  <a:srgbClr val="151F29"/>
                </a:buClr>
                <a:defRPr/>
              </a:pPr>
              <a:r>
                <a:rPr lang="en-IN" sz="4400" b="1" kern="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8FF8D11-31B7-B4B1-CB49-06B9C3B736F8}"/>
              </a:ext>
            </a:extLst>
          </p:cNvPr>
          <p:cNvGrpSpPr/>
          <p:nvPr/>
        </p:nvGrpSpPr>
        <p:grpSpPr>
          <a:xfrm>
            <a:off x="7772400" y="5850016"/>
            <a:ext cx="9813924" cy="1384950"/>
            <a:chOff x="7772400" y="2466921"/>
            <a:chExt cx="9813924" cy="1384950"/>
          </a:xfrm>
        </p:grpSpPr>
        <p:sp>
          <p:nvSpPr>
            <p:cNvPr id="29" name="Google Shape;586;p33">
              <a:extLst>
                <a:ext uri="{FF2B5EF4-FFF2-40B4-BE49-F238E27FC236}">
                  <a16:creationId xmlns:a16="http://schemas.microsoft.com/office/drawing/2014/main" id="{CF822EC7-5501-730C-3742-FDEAF822B7B4}"/>
                </a:ext>
              </a:extLst>
            </p:cNvPr>
            <p:cNvSpPr txBox="1">
              <a:spLocks/>
            </p:cNvSpPr>
            <p:nvPr/>
          </p:nvSpPr>
          <p:spPr>
            <a:xfrm>
              <a:off x="7772400" y="2466921"/>
              <a:ext cx="1302876" cy="13849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137138" tIns="137138" rIns="137138" bIns="137138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chivo Black"/>
                <a:buNone/>
                <a:defRPr sz="4100" b="0" i="0" u="none" strike="noStrike" cap="none">
                  <a:solidFill>
                    <a:schemeClr val="lt2"/>
                  </a:solidFill>
                  <a:latin typeface="Archivo Black"/>
                  <a:ea typeface="Archivo Black"/>
                  <a:cs typeface="Archivo Black"/>
                  <a:sym typeface="Archivo Black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1371600">
                <a:buClr>
                  <a:srgbClr val="151F29"/>
                </a:buClr>
                <a:defRPr/>
              </a:pPr>
              <a:r>
                <a:rPr lang="en" sz="7200" b="1" kern="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3</a:t>
              </a:r>
            </a:p>
          </p:txBody>
        </p:sp>
        <p:sp>
          <p:nvSpPr>
            <p:cNvPr id="30" name="Google Shape;597;p33">
              <a:extLst>
                <a:ext uri="{FF2B5EF4-FFF2-40B4-BE49-F238E27FC236}">
                  <a16:creationId xmlns:a16="http://schemas.microsoft.com/office/drawing/2014/main" id="{A54296BE-82A1-DFA4-3EEE-F91B2C5FB0E4}"/>
                </a:ext>
              </a:extLst>
            </p:cNvPr>
            <p:cNvSpPr txBox="1">
              <a:spLocks/>
            </p:cNvSpPr>
            <p:nvPr/>
          </p:nvSpPr>
          <p:spPr>
            <a:xfrm>
              <a:off x="9318789" y="2700396"/>
              <a:ext cx="8267535" cy="918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7138" tIns="137138" rIns="137138" bIns="137138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chivo Black"/>
                <a:buNone/>
                <a:defRPr sz="2000" b="0" i="0" u="none" strike="noStrike" cap="none">
                  <a:solidFill>
                    <a:schemeClr val="dk1"/>
                  </a:solidFill>
                  <a:latin typeface="Archivo Black"/>
                  <a:ea typeface="Archivo Black"/>
                  <a:cs typeface="Archivo Black"/>
                  <a:sym typeface="Archivo Black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l" defTabSz="1371600">
                <a:buClr>
                  <a:srgbClr val="151F29"/>
                </a:buClr>
                <a:defRPr/>
              </a:pPr>
              <a:r>
                <a:rPr lang="en-IN" sz="4400" b="1" kern="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BC19E1B-E428-E0A9-E710-DC8494E396A2}"/>
              </a:ext>
            </a:extLst>
          </p:cNvPr>
          <p:cNvGrpSpPr/>
          <p:nvPr/>
        </p:nvGrpSpPr>
        <p:grpSpPr>
          <a:xfrm>
            <a:off x="7772400" y="7644750"/>
            <a:ext cx="9813924" cy="1384950"/>
            <a:chOff x="7772400" y="2466921"/>
            <a:chExt cx="9813924" cy="1384950"/>
          </a:xfrm>
        </p:grpSpPr>
        <p:sp>
          <p:nvSpPr>
            <p:cNvPr id="32" name="Google Shape;586;p33">
              <a:extLst>
                <a:ext uri="{FF2B5EF4-FFF2-40B4-BE49-F238E27FC236}">
                  <a16:creationId xmlns:a16="http://schemas.microsoft.com/office/drawing/2014/main" id="{30822E03-AB40-EB0B-89B6-4A5A88C57B59}"/>
                </a:ext>
              </a:extLst>
            </p:cNvPr>
            <p:cNvSpPr txBox="1">
              <a:spLocks/>
            </p:cNvSpPr>
            <p:nvPr/>
          </p:nvSpPr>
          <p:spPr>
            <a:xfrm>
              <a:off x="7772400" y="2466921"/>
              <a:ext cx="1302876" cy="13849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137138" tIns="137138" rIns="137138" bIns="137138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chivo Black"/>
                <a:buNone/>
                <a:defRPr sz="4100" b="0" i="0" u="none" strike="noStrike" cap="none">
                  <a:solidFill>
                    <a:schemeClr val="lt2"/>
                  </a:solidFill>
                  <a:latin typeface="Archivo Black"/>
                  <a:ea typeface="Archivo Black"/>
                  <a:cs typeface="Archivo Black"/>
                  <a:sym typeface="Archivo Black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  <a:defRPr sz="2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1371600">
                <a:buClr>
                  <a:srgbClr val="151F29"/>
                </a:buClr>
                <a:defRPr/>
              </a:pPr>
              <a:r>
                <a:rPr lang="en" sz="7200" b="1" kern="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4</a:t>
              </a:r>
            </a:p>
          </p:txBody>
        </p:sp>
        <p:sp>
          <p:nvSpPr>
            <p:cNvPr id="33" name="Google Shape;597;p33">
              <a:extLst>
                <a:ext uri="{FF2B5EF4-FFF2-40B4-BE49-F238E27FC236}">
                  <a16:creationId xmlns:a16="http://schemas.microsoft.com/office/drawing/2014/main" id="{805704AD-1B36-547C-06D0-DBF109EC02E6}"/>
                </a:ext>
              </a:extLst>
            </p:cNvPr>
            <p:cNvSpPr txBox="1">
              <a:spLocks/>
            </p:cNvSpPr>
            <p:nvPr/>
          </p:nvSpPr>
          <p:spPr>
            <a:xfrm>
              <a:off x="9318789" y="2700396"/>
              <a:ext cx="8267535" cy="918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7138" tIns="137138" rIns="137138" bIns="137138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chivo Black"/>
                <a:buNone/>
                <a:defRPr sz="2000" b="0" i="0" u="none" strike="noStrike" cap="none">
                  <a:solidFill>
                    <a:schemeClr val="dk1"/>
                  </a:solidFill>
                  <a:latin typeface="Archivo Black"/>
                  <a:ea typeface="Archivo Black"/>
                  <a:cs typeface="Archivo Black"/>
                  <a:sym typeface="Archivo Black"/>
                </a:defRPr>
              </a:lvl1pPr>
              <a:lvl2pPr marR="0" lvl="1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  <a:def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l" defTabSz="1371600">
                <a:buClr>
                  <a:srgbClr val="151F29"/>
                </a:buClr>
                <a:defRPr/>
              </a:pPr>
              <a:r>
                <a:rPr lang="en-IN" sz="4400" b="1" kern="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</a:t>
              </a:r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2E99E9-CB75-05AB-2C01-B9E37682C8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5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75</TotalTime>
  <Words>12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Table of Conten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66</cp:revision>
  <dcterms:created xsi:type="dcterms:W3CDTF">2006-08-16T00:00:00Z</dcterms:created>
  <dcterms:modified xsi:type="dcterms:W3CDTF">2025-10-06T08:36:43Z</dcterms:modified>
  <cp:category/>
  <dc:identifier>DAGkDf5R9EM</dc:identifier>
</cp:coreProperties>
</file>